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90"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90"/>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86AA20-4604-445F-A03A-F1F9E14772DC}" v="3" dt="2022-11-16T07:13:25.2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9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at, Shivani S" userId="6c3c2ce7-bab1-44c7-bf5b-aff0d270737c" providerId="ADAL" clId="{AC86AA20-4604-445F-A03A-F1F9E14772DC}"/>
    <pc:docChg chg="custSel addSld delSld modSld delMainMaster modSection">
      <pc:chgData name="Bhat, Shivani S" userId="6c3c2ce7-bab1-44c7-bf5b-aff0d270737c" providerId="ADAL" clId="{AC86AA20-4604-445F-A03A-F1F9E14772DC}" dt="2022-11-16T07:13:31.797" v="1305" actId="1076"/>
      <pc:docMkLst>
        <pc:docMk/>
      </pc:docMkLst>
      <pc:sldChg chg="del">
        <pc:chgData name="Bhat, Shivani S" userId="6c3c2ce7-bab1-44c7-bf5b-aff0d270737c" providerId="ADAL" clId="{AC86AA20-4604-445F-A03A-F1F9E14772DC}" dt="2022-11-16T07:04:29.566" v="981" actId="2696"/>
        <pc:sldMkLst>
          <pc:docMk/>
          <pc:sldMk cId="203152348" sldId="1049"/>
        </pc:sldMkLst>
      </pc:sldChg>
      <pc:sldChg chg="modSp del mod">
        <pc:chgData name="Bhat, Shivani S" userId="6c3c2ce7-bab1-44c7-bf5b-aff0d270737c" providerId="ADAL" clId="{AC86AA20-4604-445F-A03A-F1F9E14772DC}" dt="2022-11-16T07:04:26.380" v="980" actId="2696"/>
        <pc:sldMkLst>
          <pc:docMk/>
          <pc:sldMk cId="3622275861" sldId="1989"/>
        </pc:sldMkLst>
        <pc:picChg chg="mod">
          <ac:chgData name="Bhat, Shivani S" userId="6c3c2ce7-bab1-44c7-bf5b-aff0d270737c" providerId="ADAL" clId="{AC86AA20-4604-445F-A03A-F1F9E14772DC}" dt="2022-11-08T06:09:32.930" v="1" actId="1076"/>
          <ac:picMkLst>
            <pc:docMk/>
            <pc:sldMk cId="3622275861" sldId="1989"/>
            <ac:picMk id="20" creationId="{2F341940-940A-4108-B9F3-71E78C14724A}"/>
          </ac:picMkLst>
        </pc:picChg>
      </pc:sldChg>
      <pc:sldChg chg="addSp delSp modSp add mod">
        <pc:chgData name="Bhat, Shivani S" userId="6c3c2ce7-bab1-44c7-bf5b-aff0d270737c" providerId="ADAL" clId="{AC86AA20-4604-445F-A03A-F1F9E14772DC}" dt="2022-11-16T07:13:31.797" v="1305" actId="1076"/>
        <pc:sldMkLst>
          <pc:docMk/>
          <pc:sldMk cId="3661872708" sldId="1990"/>
        </pc:sldMkLst>
        <pc:spChg chg="mod">
          <ac:chgData name="Bhat, Shivani S" userId="6c3c2ce7-bab1-44c7-bf5b-aff0d270737c" providerId="ADAL" clId="{AC86AA20-4604-445F-A03A-F1F9E14772DC}" dt="2022-11-16T07:04:12.213" v="979" actId="20577"/>
          <ac:spMkLst>
            <pc:docMk/>
            <pc:sldMk cId="3661872708" sldId="1990"/>
            <ac:spMk id="5" creationId="{4E726CED-1BAF-414A-893B-4626E9B6F2B4}"/>
          </ac:spMkLst>
        </pc:spChg>
        <pc:spChg chg="del mod">
          <ac:chgData name="Bhat, Shivani S" userId="6c3c2ce7-bab1-44c7-bf5b-aff0d270737c" providerId="ADAL" clId="{AC86AA20-4604-445F-A03A-F1F9E14772DC}" dt="2022-11-16T07:13:25.240" v="1302" actId="931"/>
          <ac:spMkLst>
            <pc:docMk/>
            <pc:sldMk cId="3661872708" sldId="1990"/>
            <ac:spMk id="7" creationId="{DC9CA59C-13BD-47CF-97FB-2F41EC829632}"/>
          </ac:spMkLst>
        </pc:spChg>
        <pc:spChg chg="mod">
          <ac:chgData name="Bhat, Shivani S" userId="6c3c2ce7-bab1-44c7-bf5b-aff0d270737c" providerId="ADAL" clId="{AC86AA20-4604-445F-A03A-F1F9E14772DC}" dt="2022-11-16T07:03:21.792" v="923" actId="20577"/>
          <ac:spMkLst>
            <pc:docMk/>
            <pc:sldMk cId="3661872708" sldId="1990"/>
            <ac:spMk id="7170" creationId="{4EF0A5D5-CB77-4BCF-86BB-EC8AFA4AA0E3}"/>
          </ac:spMkLst>
        </pc:spChg>
        <pc:spChg chg="mod">
          <ac:chgData name="Bhat, Shivani S" userId="6c3c2ce7-bab1-44c7-bf5b-aff0d270737c" providerId="ADAL" clId="{AC86AA20-4604-445F-A03A-F1F9E14772DC}" dt="2022-11-16T06:57:22.852" v="43" actId="20577"/>
          <ac:spMkLst>
            <pc:docMk/>
            <pc:sldMk cId="3661872708" sldId="1990"/>
            <ac:spMk id="7171" creationId="{FF4CCF3B-4887-442F-A757-E5908FA1808D}"/>
          </ac:spMkLst>
        </pc:spChg>
        <pc:spChg chg="mod">
          <ac:chgData name="Bhat, Shivani S" userId="6c3c2ce7-bab1-44c7-bf5b-aff0d270737c" providerId="ADAL" clId="{AC86AA20-4604-445F-A03A-F1F9E14772DC}" dt="2022-11-16T06:58:32.055" v="158" actId="14100"/>
          <ac:spMkLst>
            <pc:docMk/>
            <pc:sldMk cId="3661872708" sldId="1990"/>
            <ac:spMk id="7173" creationId="{0DF2099D-8FC2-44CE-AB60-E2C2257CB05D}"/>
          </ac:spMkLst>
        </pc:spChg>
        <pc:spChg chg="mod">
          <ac:chgData name="Bhat, Shivani S" userId="6c3c2ce7-bab1-44c7-bf5b-aff0d270737c" providerId="ADAL" clId="{AC86AA20-4604-445F-A03A-F1F9E14772DC}" dt="2022-11-16T06:58:41.363" v="159" actId="14100"/>
          <ac:spMkLst>
            <pc:docMk/>
            <pc:sldMk cId="3661872708" sldId="1990"/>
            <ac:spMk id="7174" creationId="{8B11FF61-9AA9-42E0-800D-B94AC06E095E}"/>
          </ac:spMkLst>
        </pc:spChg>
        <pc:spChg chg="mod">
          <ac:chgData name="Bhat, Shivani S" userId="6c3c2ce7-bab1-44c7-bf5b-aff0d270737c" providerId="ADAL" clId="{AC86AA20-4604-445F-A03A-F1F9E14772DC}" dt="2022-11-16T07:01:23.816" v="525" actId="20577"/>
          <ac:spMkLst>
            <pc:docMk/>
            <pc:sldMk cId="3661872708" sldId="1990"/>
            <ac:spMk id="7175" creationId="{BADEA8C0-D1A3-4608-9E63-683339DCC944}"/>
          </ac:spMkLst>
        </pc:spChg>
        <pc:spChg chg="mod">
          <ac:chgData name="Bhat, Shivani S" userId="6c3c2ce7-bab1-44c7-bf5b-aff0d270737c" providerId="ADAL" clId="{AC86AA20-4604-445F-A03A-F1F9E14772DC}" dt="2022-11-16T06:57:15.338" v="36" actId="20577"/>
          <ac:spMkLst>
            <pc:docMk/>
            <pc:sldMk cId="3661872708" sldId="1990"/>
            <ac:spMk id="7178" creationId="{3959C7F9-3FBF-4100-BACD-7A75D3D2E90B}"/>
          </ac:spMkLst>
        </pc:spChg>
        <pc:spChg chg="del mod">
          <ac:chgData name="Bhat, Shivani S" userId="6c3c2ce7-bab1-44c7-bf5b-aff0d270737c" providerId="ADAL" clId="{AC86AA20-4604-445F-A03A-F1F9E14772DC}" dt="2022-11-16T07:03:34.151" v="927"/>
          <ac:spMkLst>
            <pc:docMk/>
            <pc:sldMk cId="3661872708" sldId="1990"/>
            <ac:spMk id="7180" creationId="{273FF0AF-5E94-435C-8A2A-7A7CA0FE36A6}"/>
          </ac:spMkLst>
        </pc:spChg>
        <pc:spChg chg="mod">
          <ac:chgData name="Bhat, Shivani S" userId="6c3c2ce7-bab1-44c7-bf5b-aff0d270737c" providerId="ADAL" clId="{AC86AA20-4604-445F-A03A-F1F9E14772DC}" dt="2022-11-16T06:58:17.523" v="157" actId="20577"/>
          <ac:spMkLst>
            <pc:docMk/>
            <pc:sldMk cId="3661872708" sldId="1990"/>
            <ac:spMk id="7183" creationId="{B8C26D43-3971-4B32-9403-96D3E3AC5656}"/>
          </ac:spMkLst>
        </pc:spChg>
        <pc:graphicFrameChg chg="modGraphic">
          <ac:chgData name="Bhat, Shivani S" userId="6c3c2ce7-bab1-44c7-bf5b-aff0d270737c" providerId="ADAL" clId="{AC86AA20-4604-445F-A03A-F1F9E14772DC}" dt="2022-11-16T07:07:09.542" v="1300" actId="2164"/>
          <ac:graphicFrameMkLst>
            <pc:docMk/>
            <pc:sldMk cId="3661872708" sldId="1990"/>
            <ac:graphicFrameMk id="2" creationId="{B8B0DC3D-A319-4B78-A461-3FAC5C106C85}"/>
          </ac:graphicFrameMkLst>
        </pc:graphicFrameChg>
        <pc:picChg chg="add mod">
          <ac:chgData name="Bhat, Shivani S" userId="6c3c2ce7-bab1-44c7-bf5b-aff0d270737c" providerId="ADAL" clId="{AC86AA20-4604-445F-A03A-F1F9E14772DC}" dt="2022-11-16T07:13:31.797" v="1305" actId="1076"/>
          <ac:picMkLst>
            <pc:docMk/>
            <pc:sldMk cId="3661872708" sldId="1990"/>
            <ac:picMk id="4" creationId="{ADBEDAE2-05E2-4334-8601-C58138B88AA2}"/>
          </ac:picMkLst>
        </pc:picChg>
        <pc:picChg chg="del">
          <ac:chgData name="Bhat, Shivani S" userId="6c3c2ce7-bab1-44c7-bf5b-aff0d270737c" providerId="ADAL" clId="{AC86AA20-4604-445F-A03A-F1F9E14772DC}" dt="2022-11-16T06:57:01.770" v="3" actId="21"/>
          <ac:picMkLst>
            <pc:docMk/>
            <pc:sldMk cId="3661872708" sldId="1990"/>
            <ac:picMk id="20" creationId="{2F341940-940A-4108-B9F3-71E78C14724A}"/>
          </ac:picMkLst>
        </pc:picChg>
        <pc:picChg chg="del">
          <ac:chgData name="Bhat, Shivani S" userId="6c3c2ce7-bab1-44c7-bf5b-aff0d270737c" providerId="ADAL" clId="{AC86AA20-4604-445F-A03A-F1F9E14772DC}" dt="2022-11-16T07:03:37.738" v="928" actId="21"/>
          <ac:picMkLst>
            <pc:docMk/>
            <pc:sldMk cId="3661872708" sldId="1990"/>
            <ac:picMk id="7179" creationId="{12618B16-99B6-4F89-A145-C5939A93831F}"/>
          </ac:picMkLst>
        </pc:picChg>
        <pc:picChg chg="del">
          <ac:chgData name="Bhat, Shivani S" userId="6c3c2ce7-bab1-44c7-bf5b-aff0d270737c" providerId="ADAL" clId="{AC86AA20-4604-445F-A03A-F1F9E14772DC}" dt="2022-11-16T07:03:34.128" v="925" actId="21"/>
          <ac:picMkLst>
            <pc:docMk/>
            <pc:sldMk cId="3661872708" sldId="1990"/>
            <ac:picMk id="7181" creationId="{568E79A1-196A-4599-9F1F-AD39B99F1222}"/>
          </ac:picMkLst>
        </pc:picChg>
      </pc:sldChg>
      <pc:sldMasterChg chg="del delSldLayout">
        <pc:chgData name="Bhat, Shivani S" userId="6c3c2ce7-bab1-44c7-bf5b-aff0d270737c" providerId="ADAL" clId="{AC86AA20-4604-445F-A03A-F1F9E14772DC}" dt="2022-11-16T07:04:29.566" v="981" actId="2696"/>
        <pc:sldMasterMkLst>
          <pc:docMk/>
          <pc:sldMasterMk cId="434659500" sldId="2147483943"/>
        </pc:sldMasterMkLst>
        <pc:sldLayoutChg chg="del">
          <pc:chgData name="Bhat, Shivani S" userId="6c3c2ce7-bab1-44c7-bf5b-aff0d270737c" providerId="ADAL" clId="{AC86AA20-4604-445F-A03A-F1F9E14772DC}" dt="2022-11-16T07:04:29.566" v="981" actId="2696"/>
          <pc:sldLayoutMkLst>
            <pc:docMk/>
            <pc:sldMasterMk cId="434659500" sldId="2147483943"/>
            <pc:sldLayoutMk cId="2066227902" sldId="2147483944"/>
          </pc:sldLayoutMkLst>
        </pc:sldLayoutChg>
        <pc:sldLayoutChg chg="del">
          <pc:chgData name="Bhat, Shivani S" userId="6c3c2ce7-bab1-44c7-bf5b-aff0d270737c" providerId="ADAL" clId="{AC86AA20-4604-445F-A03A-F1F9E14772DC}" dt="2022-11-16T07:04:29.566" v="981" actId="2696"/>
          <pc:sldLayoutMkLst>
            <pc:docMk/>
            <pc:sldMasterMk cId="434659500" sldId="2147483943"/>
            <pc:sldLayoutMk cId="2780576070" sldId="2147483945"/>
          </pc:sldLayoutMkLst>
        </pc:sldLayoutChg>
        <pc:sldLayoutChg chg="del">
          <pc:chgData name="Bhat, Shivani S" userId="6c3c2ce7-bab1-44c7-bf5b-aff0d270737c" providerId="ADAL" clId="{AC86AA20-4604-445F-A03A-F1F9E14772DC}" dt="2022-11-16T07:04:29.566" v="981" actId="2696"/>
          <pc:sldLayoutMkLst>
            <pc:docMk/>
            <pc:sldMasterMk cId="434659500" sldId="2147483943"/>
            <pc:sldLayoutMk cId="1892474467" sldId="2147483946"/>
          </pc:sldLayoutMkLst>
        </pc:sldLayoutChg>
        <pc:sldLayoutChg chg="del">
          <pc:chgData name="Bhat, Shivani S" userId="6c3c2ce7-bab1-44c7-bf5b-aff0d270737c" providerId="ADAL" clId="{AC86AA20-4604-445F-A03A-F1F9E14772DC}" dt="2022-11-16T07:04:29.566" v="981" actId="2696"/>
          <pc:sldLayoutMkLst>
            <pc:docMk/>
            <pc:sldMasterMk cId="434659500" sldId="2147483943"/>
            <pc:sldLayoutMk cId="3175800896" sldId="2147483947"/>
          </pc:sldLayoutMkLst>
        </pc:sldLayoutChg>
        <pc:sldLayoutChg chg="del">
          <pc:chgData name="Bhat, Shivani S" userId="6c3c2ce7-bab1-44c7-bf5b-aff0d270737c" providerId="ADAL" clId="{AC86AA20-4604-445F-A03A-F1F9E14772DC}" dt="2022-11-16T07:04:29.566" v="981" actId="2696"/>
          <pc:sldLayoutMkLst>
            <pc:docMk/>
            <pc:sldMasterMk cId="434659500" sldId="2147483943"/>
            <pc:sldLayoutMk cId="1318972389" sldId="2147483948"/>
          </pc:sldLayoutMkLst>
        </pc:sldLayoutChg>
        <pc:sldLayoutChg chg="del">
          <pc:chgData name="Bhat, Shivani S" userId="6c3c2ce7-bab1-44c7-bf5b-aff0d270737c" providerId="ADAL" clId="{AC86AA20-4604-445F-A03A-F1F9E14772DC}" dt="2022-11-16T07:04:29.566" v="981" actId="2696"/>
          <pc:sldLayoutMkLst>
            <pc:docMk/>
            <pc:sldMasterMk cId="434659500" sldId="2147483943"/>
            <pc:sldLayoutMk cId="3524797851" sldId="2147483949"/>
          </pc:sldLayoutMkLst>
        </pc:sldLayoutChg>
        <pc:sldLayoutChg chg="del">
          <pc:chgData name="Bhat, Shivani S" userId="6c3c2ce7-bab1-44c7-bf5b-aff0d270737c" providerId="ADAL" clId="{AC86AA20-4604-445F-A03A-F1F9E14772DC}" dt="2022-11-16T07:04:29.566" v="981" actId="2696"/>
          <pc:sldLayoutMkLst>
            <pc:docMk/>
            <pc:sldMasterMk cId="434659500" sldId="2147483943"/>
            <pc:sldLayoutMk cId="4148185724" sldId="2147483950"/>
          </pc:sldLayoutMkLst>
        </pc:sldLayoutChg>
        <pc:sldLayoutChg chg="del">
          <pc:chgData name="Bhat, Shivani S" userId="6c3c2ce7-bab1-44c7-bf5b-aff0d270737c" providerId="ADAL" clId="{AC86AA20-4604-445F-A03A-F1F9E14772DC}" dt="2022-11-16T07:04:29.566" v="981" actId="2696"/>
          <pc:sldLayoutMkLst>
            <pc:docMk/>
            <pc:sldMasterMk cId="434659500" sldId="2147483943"/>
            <pc:sldLayoutMk cId="1430496729" sldId="2147483952"/>
          </pc:sldLayoutMkLst>
        </pc:sldLayoutChg>
        <pc:sldLayoutChg chg="del">
          <pc:chgData name="Bhat, Shivani S" userId="6c3c2ce7-bab1-44c7-bf5b-aff0d270737c" providerId="ADAL" clId="{AC86AA20-4604-445F-A03A-F1F9E14772DC}" dt="2022-11-16T07:04:29.566" v="981" actId="2696"/>
          <pc:sldLayoutMkLst>
            <pc:docMk/>
            <pc:sldMasterMk cId="434659500" sldId="2147483943"/>
            <pc:sldLayoutMk cId="3378389502" sldId="2147483953"/>
          </pc:sldLayoutMkLst>
        </pc:sldLayoutChg>
        <pc:sldLayoutChg chg="del">
          <pc:chgData name="Bhat, Shivani S" userId="6c3c2ce7-bab1-44c7-bf5b-aff0d270737c" providerId="ADAL" clId="{AC86AA20-4604-445F-A03A-F1F9E14772DC}" dt="2022-11-16T07:04:29.566" v="981" actId="2696"/>
          <pc:sldLayoutMkLst>
            <pc:docMk/>
            <pc:sldMasterMk cId="434659500" sldId="2147483943"/>
            <pc:sldLayoutMk cId="389671251" sldId="2147483954"/>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4477159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1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52887810"/>
              </p:ext>
            </p:extLst>
          </p:nvPr>
        </p:nvGraphicFramePr>
        <p:xfrm>
          <a:off x="9229514" y="1143001"/>
          <a:ext cx="3038686" cy="3839748"/>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Exception Handling, Testing Services</a:t>
                      </a:r>
                      <a:endParaRPr lang="en-US" sz="700" dirty="0">
                        <a:solidFill>
                          <a:schemeClr val="tx1"/>
                        </a:solidFill>
                      </a:endParaRPr>
                    </a:p>
                  </a:txBody>
                  <a:tcPr/>
                </a:tc>
                <a:extLst>
                  <a:ext uri="{0D108BD9-81ED-4DB2-BD59-A6C34878D82A}">
                    <a16:rowId xmlns:a16="http://schemas.microsoft.com/office/drawing/2014/main" val="3229840877"/>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server and discovery client</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Angular</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185987"/>
          </a:xfrm>
        </p:spPr>
        <p:txBody>
          <a:bodyPr/>
          <a:lstStyle/>
          <a:p>
            <a:pPr eaLnBrk="1" hangingPunct="1">
              <a:lnSpc>
                <a:spcPct val="114000"/>
              </a:lnSpc>
            </a:pPr>
            <a:r>
              <a:rPr lang="en-US" altLang="en-US" b="1" dirty="0"/>
              <a:t>Book Rental System</a:t>
            </a:r>
          </a:p>
          <a:p>
            <a:pPr eaLnBrk="1" hangingPunct="1">
              <a:lnSpc>
                <a:spcPct val="114000"/>
              </a:lnSpc>
            </a:pPr>
            <a:r>
              <a:rPr lang="en-IN" altLang="en-US" dirty="0"/>
              <a:t>Completed end to end case study of Book Rental System using Spring boot , mongo DB database and unit testing using Junit and Mockito. Used Angular in creating the user interface.</a:t>
            </a:r>
            <a:endParaRPr lang="en-US"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Senior 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96138"/>
            <a:ext cx="2373313" cy="240599"/>
          </a:xfrm>
        </p:spPr>
        <p:txBody>
          <a:bodyPr/>
          <a:lstStyle/>
          <a:p>
            <a:pPr eaLnBrk="1" hangingPunct="1"/>
            <a:r>
              <a:rPr lang="nl-NL" altLang="nl-NL" dirty="0"/>
              <a:t>shivani-s.bhat@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59663"/>
            <a:ext cx="2382837" cy="240599"/>
          </a:xfrm>
        </p:spPr>
        <p:txBody>
          <a:bodyPr/>
          <a:lstStyle/>
          <a:p>
            <a:pPr eaLnBrk="1" hangingPunct="1"/>
            <a:r>
              <a:rPr lang="nl-NL" altLang="nl-NL" dirty="0"/>
              <a:t>+91 6362215619</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Proficient in creating microservices using spring boot, Eureka server</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ngular  forms, angular routing</a:t>
            </a:r>
          </a:p>
          <a:p>
            <a:pPr marL="171450" indent="-171450">
              <a:buFont typeface="Arial" panose="020B0604020202020204" pitchFamily="34" charset="0"/>
              <a:buChar char="•"/>
            </a:pPr>
            <a:r>
              <a:rPr lang="en-US" dirty="0"/>
              <a:t>Proficient in unit testing using Junit and Mockito</a:t>
            </a:r>
          </a:p>
          <a:p>
            <a:pPr marL="171450" indent="-171450">
              <a:buFont typeface="Arial" panose="020B0604020202020204" pitchFamily="34" charset="0"/>
              <a:buChar char="•"/>
            </a:pPr>
            <a:r>
              <a:rPr lang="en-US" dirty="0"/>
              <a:t>Proficient in creating databases using MongoDB.</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Shivani S Bhat</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5</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Information Science</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icture containing text, person&#10;&#10;Description automatically generated">
            <a:extLst>
              <a:ext uri="{FF2B5EF4-FFF2-40B4-BE49-F238E27FC236}">
                <a16:creationId xmlns:a16="http://schemas.microsoft.com/office/drawing/2014/main" id="{ADBEDAE2-05E2-4334-8601-C58138B88AA2}"/>
              </a:ext>
            </a:extLst>
          </p:cNvPr>
          <p:cNvPicPr>
            <a:picLocks noGrp="1" noChangeAspect="1"/>
          </p:cNvPicPr>
          <p:nvPr>
            <p:ph type="pic" sz="quarter" idx="46"/>
          </p:nvPr>
        </p:nvPicPr>
        <p:blipFill>
          <a:blip r:embed="rId4">
            <a:extLst>
              <a:ext uri="{28A0092B-C50C-407E-A947-70E740481C1C}">
                <a14:useLocalDpi xmlns:a14="http://schemas.microsoft.com/office/drawing/2010/main" val="0"/>
              </a:ext>
            </a:extLst>
          </a:blip>
          <a:srcRect t="9762" b="9762"/>
          <a:stretch>
            <a:fillRect/>
          </a:stretch>
        </p:blipFill>
        <p:spPr>
          <a:xfrm>
            <a:off x="323707" y="275432"/>
            <a:ext cx="1735137" cy="1735138"/>
          </a:xfrm>
        </p:spPr>
      </p:pic>
    </p:spTree>
    <p:extLst>
      <p:ext uri="{BB962C8B-B14F-4D97-AF65-F5344CB8AC3E}">
        <p14:creationId xmlns:p14="http://schemas.microsoft.com/office/powerpoint/2010/main" val="36618727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26</TotalTime>
  <Words>216</Words>
  <Application>Microsoft Office PowerPoint</Application>
  <PresentationFormat>Widescreen</PresentationFormat>
  <Paragraphs>5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hat, Shivani S</cp:lastModifiedBy>
  <cp:revision>97</cp:revision>
  <dcterms:created xsi:type="dcterms:W3CDTF">2020-09-22T06:24:34Z</dcterms:created>
  <dcterms:modified xsi:type="dcterms:W3CDTF">2022-11-16T07:13: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